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1396E-5418-147A-5990-B1DAA47383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2CCDFEA-F894-750A-5413-6F7108F8A3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CCDFEA-F894-750A-5413-6F7108F8A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B5BC2B-95AB-CF14-8ACC-9CF442684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4534316-5B95-D7F9-6958-250E530AE4D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2D2AAE1-DB17-D549-6E71-9C9CB934FF81}"/>
              </a:ext>
            </a:extLst>
          </p:cNvPr>
          <p:cNvGraphicFramePr>
            <a:graphicFrameLocks noGrp="1"/>
          </p:cNvGraphicFramePr>
          <p:nvPr/>
        </p:nvGraphicFramePr>
        <p:xfrm>
          <a:off x="754521" y="1282304"/>
          <a:ext cx="10682958" cy="4166616"/>
        </p:xfrm>
        <a:graphic>
          <a:graphicData uri="http://schemas.openxmlformats.org/drawingml/2006/table">
            <a:tbl>
              <a:tblPr firstRow="1" bandRow="1"/>
              <a:tblGrid>
                <a:gridCol w="1780493">
                  <a:extLst>
                    <a:ext uri="{9D8B030D-6E8A-4147-A177-3AD203B41FA5}">
                      <a16:colId xmlns:a16="http://schemas.microsoft.com/office/drawing/2014/main" val="3659823728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4051637255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3837199012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3754817532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2679508145"/>
                    </a:ext>
                  </a:extLst>
                </a:gridCol>
                <a:gridCol w="1780493">
                  <a:extLst>
                    <a:ext uri="{9D8B030D-6E8A-4147-A177-3AD203B41FA5}">
                      <a16:colId xmlns:a16="http://schemas.microsoft.com/office/drawing/2014/main" val="1472900263"/>
                    </a:ext>
                  </a:extLst>
                </a:gridCol>
              </a:tblGrid>
              <a:tr h="4114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476668"/>
                  </a:ext>
                </a:extLst>
              </a:tr>
              <a:tr h="18775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241880"/>
                  </a:ext>
                </a:extLst>
              </a:tr>
              <a:tr h="18775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tle</a:t>
                      </a:r>
                      <a:endParaRPr lang="en-IN" sz="1500" b="1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lang="en-IN" sz="150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968" marR="84968" marT="42485" marB="4248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081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61146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2</TotalTime>
  <Words>20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71</cp:revision>
  <dcterms:created xsi:type="dcterms:W3CDTF">2021-03-31T02:49:57Z</dcterms:created>
  <dcterms:modified xsi:type="dcterms:W3CDTF">2025-10-15T08:46:30Z</dcterms:modified>
  <cp:category/>
</cp:coreProperties>
</file>